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19"/>
  </p:notesMasterIdLst>
  <p:handoutMasterIdLst>
    <p:handoutMasterId r:id="rId20"/>
  </p:handoutMasterIdLst>
  <p:sldIdLst>
    <p:sldId id="382" r:id="rId5"/>
    <p:sldId id="386" r:id="rId6"/>
    <p:sldId id="387" r:id="rId7"/>
    <p:sldId id="396" r:id="rId8"/>
    <p:sldId id="389" r:id="rId9"/>
    <p:sldId id="397" r:id="rId10"/>
    <p:sldId id="407" r:id="rId11"/>
    <p:sldId id="398" r:id="rId12"/>
    <p:sldId id="408" r:id="rId13"/>
    <p:sldId id="399" r:id="rId14"/>
    <p:sldId id="409" r:id="rId15"/>
    <p:sldId id="392" r:id="rId16"/>
    <p:sldId id="391" r:id="rId17"/>
    <p:sldId id="336" r:id="rId18"/>
  </p:sldIdLst>
  <p:sldSz cx="9144000" cy="5143500" type="screen16x9"/>
  <p:notesSz cx="6858000" cy="9144000"/>
  <p:embeddedFontLst>
    <p:embeddedFont>
      <p:font typeface="Futura Bk" panose="020B0502020204020303" charset="0"/>
      <p:regular r:id="rId21"/>
      <p:bold r:id="rId22"/>
      <p:italic r:id="rId23"/>
    </p:embeddedFont>
    <p:embeddedFont>
      <p:font typeface="Tahoma" panose="020B0604030504040204" pitchFamily="34" charset="0"/>
      <p:regular r:id="rId24"/>
      <p:bold r:id="rId25"/>
    </p:embeddedFont>
    <p:embeddedFont>
      <p:font typeface="Lucida Grande" panose="020B0604020202020204" charset="0"/>
      <p:regular r:id="rId26"/>
      <p:bold r:id="rId27"/>
      <p:italic r:id="rId28"/>
      <p:boldItalic r:id="rId29"/>
    </p:embeddedFont>
    <p:embeddedFont>
      <p:font typeface="Calibri" panose="020F0502020204030204" pitchFamily="34" charset="0"/>
      <p:regular r:id="rId30"/>
      <p:bold r:id="rId31"/>
      <p:italic r:id="rId32"/>
      <p:boldItalic r:id="rId33"/>
    </p:embeddedFont>
    <p:embeddedFont>
      <p:font typeface="HP Simplified" panose="020B0604020202020204" charset="0"/>
      <p:regular r:id="rId34"/>
      <p:bold r:id="rId35"/>
      <p:italic r:id="rId36"/>
      <p:boldItalic r:id="rId37"/>
    </p:embeddedFont>
    <p:embeddedFont>
      <p:font typeface="Futura Hv" panose="020B0702020204020204" charset="0"/>
      <p:regular r:id="rId38"/>
    </p:embeddedFont>
  </p:embeddedFontLst>
  <p:custDataLst>
    <p:tags r:id="rId3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559A"/>
    <a:srgbClr val="1A5D9D"/>
    <a:srgbClr val="0D5297"/>
    <a:srgbClr val="37C1FF"/>
    <a:srgbClr val="00A4EE"/>
    <a:srgbClr val="01B0FF"/>
    <a:srgbClr val="1098D2"/>
    <a:srgbClr val="FAAF3A"/>
    <a:srgbClr val="FFFFFF"/>
    <a:srgbClr val="F3F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88" autoAdjust="0"/>
    <p:restoredTop sz="97288" autoAdjust="0"/>
  </p:normalViewPr>
  <p:slideViewPr>
    <p:cSldViewPr snapToGrid="0">
      <p:cViewPr varScale="1">
        <p:scale>
          <a:sx n="88" d="100"/>
          <a:sy n="88" d="100"/>
        </p:scale>
        <p:origin x="690" y="72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3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6.fntdata"/><Relationship Id="rId39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1.fntdata"/><Relationship Id="rId34" Type="http://schemas.openxmlformats.org/officeDocument/2006/relationships/font" Target="fonts/font14.fntdata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5.fntdata"/><Relationship Id="rId33" Type="http://schemas.openxmlformats.org/officeDocument/2006/relationships/font" Target="fonts/font13.fntdata"/><Relationship Id="rId38" Type="http://schemas.openxmlformats.org/officeDocument/2006/relationships/font" Target="fonts/font18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29" Type="http://schemas.openxmlformats.org/officeDocument/2006/relationships/font" Target="fonts/font9.fntdata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4.fntdata"/><Relationship Id="rId32" Type="http://schemas.openxmlformats.org/officeDocument/2006/relationships/font" Target="fonts/font12.fntdata"/><Relationship Id="rId37" Type="http://schemas.openxmlformats.org/officeDocument/2006/relationships/font" Target="fonts/font17.fntdata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36" Type="http://schemas.openxmlformats.org/officeDocument/2006/relationships/font" Target="fonts/font16.fntdata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1.fntdata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font" Target="fonts/font10.fntdata"/><Relationship Id="rId35" Type="http://schemas.openxmlformats.org/officeDocument/2006/relationships/font" Target="fonts/font15.fntdata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20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20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7413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70936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41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4868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9985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0" y="0"/>
            <a:ext cx="9140370" cy="5143500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744507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67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09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87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10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6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.xml"/><Relationship Id="rId1" Type="http://schemas.openxmlformats.org/officeDocument/2006/relationships/themeOverride" Target="../theme/themeOverrid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image" Target="../media/image12.png"/><Relationship Id="rId7" Type="http://schemas.openxmlformats.org/officeDocument/2006/relationships/image" Target="../media/image1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jpeg"/><Relationship Id="rId5" Type="http://schemas.openxmlformats.org/officeDocument/2006/relationships/image" Target="../media/image14.jpg"/><Relationship Id="rId10" Type="http://schemas.openxmlformats.org/officeDocument/2006/relationships/image" Target="../media/image19.jpg"/><Relationship Id="rId4" Type="http://schemas.openxmlformats.org/officeDocument/2006/relationships/image" Target="../media/image13.jpg"/><Relationship Id="rId9" Type="http://schemas.openxmlformats.org/officeDocument/2006/relationships/image" Target="../media/image18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image" Target="../media/image30.jpg"/><Relationship Id="rId3" Type="http://schemas.openxmlformats.org/officeDocument/2006/relationships/image" Target="../media/image20.jpg"/><Relationship Id="rId7" Type="http://schemas.openxmlformats.org/officeDocument/2006/relationships/image" Target="../media/image24.jpeg"/><Relationship Id="rId12" Type="http://schemas.openxmlformats.org/officeDocument/2006/relationships/image" Target="../media/image2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jpeg"/><Relationship Id="rId11" Type="http://schemas.openxmlformats.org/officeDocument/2006/relationships/image" Target="../media/image28.jpg"/><Relationship Id="rId5" Type="http://schemas.openxmlformats.org/officeDocument/2006/relationships/image" Target="../media/image22.png"/><Relationship Id="rId10" Type="http://schemas.openxmlformats.org/officeDocument/2006/relationships/image" Target="../media/image27.jpg"/><Relationship Id="rId4" Type="http://schemas.openxmlformats.org/officeDocument/2006/relationships/image" Target="../media/image21.jpeg"/><Relationship Id="rId9" Type="http://schemas.openxmlformats.org/officeDocument/2006/relationships/image" Target="../media/image26.png"/><Relationship Id="rId14" Type="http://schemas.openxmlformats.org/officeDocument/2006/relationships/image" Target="../media/image31.jp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110" y="-371181"/>
            <a:ext cx="9163110" cy="6225614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3976098"/>
            <a:ext cx="9144000" cy="1167401"/>
          </a:xfrm>
          <a:prstGeom prst="rect">
            <a:avLst/>
          </a:prstGeom>
          <a:solidFill>
            <a:schemeClr val="tx2"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 smtClean="0">
                <a:latin typeface="+mj-lt"/>
              </a:rPr>
              <a:t>HealthCare &amp; </a:t>
            </a:r>
            <a:r>
              <a:rPr lang="en-US" sz="4400" b="1" dirty="0" err="1" smtClean="0">
                <a:latin typeface="+mj-lt"/>
              </a:rPr>
              <a:t>BigData</a:t>
            </a:r>
            <a:r>
              <a:rPr lang="en-US" sz="4400" b="1" dirty="0" smtClean="0">
                <a:latin typeface="+mj-lt"/>
              </a:rPr>
              <a:t> with Hadoop</a:t>
            </a:r>
          </a:p>
          <a:p>
            <a:pPr algn="ctr"/>
            <a:r>
              <a:rPr lang="en-US" sz="2000" b="1" dirty="0" smtClean="0">
                <a:solidFill>
                  <a:prstClr val="white"/>
                </a:solidFill>
                <a:latin typeface="+mj-lt"/>
              </a:rPr>
              <a:t>Because Prevention is better than Cure</a:t>
            </a:r>
          </a:p>
          <a:p>
            <a:pPr algn="ctr"/>
            <a:r>
              <a:rPr lang="en-US" b="1" dirty="0" smtClean="0">
                <a:solidFill>
                  <a:prstClr val="whit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b="1" dirty="0">
                <a:solidFill>
                  <a:prstClr val="whit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Presenter – </a:t>
            </a:r>
            <a:r>
              <a:rPr lang="en-US" b="1" dirty="0" smtClean="0">
                <a:solidFill>
                  <a:prstClr val="whit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Ashok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8482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Hadoop’s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 role in HealthCare</a:t>
            </a:r>
          </a:p>
          <a:p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75163" y="990414"/>
            <a:ext cx="8528008" cy="666592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 smtClean="0"/>
              <a:t>Hadoop makes data less expensive and more available, so that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Doctors have more insight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375163" y="2936770"/>
            <a:ext cx="8528008" cy="59754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>
                <a:ea typeface="Tahoma" panose="020B0604030504040204" pitchFamily="34" charset="0"/>
                <a:cs typeface="Tahoma" panose="020B0604030504040204" pitchFamily="34" charset="0"/>
              </a:rPr>
              <a:t>If the patient’s condition deteriorates, the doctor will be alerted about automatically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75163" y="1963592"/>
            <a:ext cx="8528008" cy="666592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Patients can wear a watch like device, which will take the body recordings and send it to the remotely located hospitals.</a:t>
            </a:r>
          </a:p>
        </p:txBody>
      </p:sp>
    </p:spTree>
    <p:extLst>
      <p:ext uri="{BB962C8B-B14F-4D97-AF65-F5344CB8AC3E}">
        <p14:creationId xmlns:p14="http://schemas.microsoft.com/office/powerpoint/2010/main" val="20417268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Certifications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745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ertification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295122" y="969822"/>
            <a:ext cx="36172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Calibri" panose="020F0502020204030204" pitchFamily="34" charset="0"/>
              </a:rPr>
              <a:t>Get Certified in Big Data &amp; Hadoop by </a:t>
            </a:r>
            <a:r>
              <a:rPr lang="en-US" sz="1400" b="1" dirty="0" err="1" smtClean="0">
                <a:latin typeface="Calibri" panose="020F0502020204030204" pitchFamily="34" charset="0"/>
              </a:rPr>
              <a:t>Edureka</a:t>
            </a:r>
            <a:endParaRPr lang="en-US" sz="14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6" name="Round Diagonal Corner Rectangle 5"/>
          <p:cNvSpPr/>
          <p:nvPr/>
        </p:nvSpPr>
        <p:spPr>
          <a:xfrm>
            <a:off x="368132" y="2520984"/>
            <a:ext cx="8407730" cy="1709923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Edureka's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Big Data &amp; Hadoop cours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Become a Hadoop Expert by mastering MapReduce, Yarn, Pig, Hive,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HBase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Oozie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Flume and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Sqoop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while working on industry based Use-cases and Projects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nline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Live Courses: 3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ssignments: 4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ject: 2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611414" y="1460084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alibri" panose="020F0502020204030204" pitchFamily="34" charset="0"/>
              </a:rPr>
              <a:t>Go to </a:t>
            </a:r>
            <a:r>
              <a:rPr lang="en-US" sz="2000" b="1" dirty="0" smtClean="0">
                <a:latin typeface="Calibri" panose="020F0502020204030204" pitchFamily="34" charset="0"/>
              </a:rPr>
              <a:t>www.edureka.co/big-data-and-hadoop</a:t>
            </a:r>
            <a:endParaRPr lang="en-US" sz="2000" b="1" dirty="0">
              <a:latin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386939" y="2118251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24 October (Weekend Batch)</a:t>
            </a:r>
          </a:p>
        </p:txBody>
      </p:sp>
      <p:pic>
        <p:nvPicPr>
          <p:cNvPr id="9" name="Picture 8"/>
          <p:cNvPicPr preferRelativeResize="0"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2569164" y="796563"/>
            <a:ext cx="612648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0600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Questions/Queries/Feedback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What will you learn today?</a:t>
            </a:r>
            <a:endParaRPr lang="en-US" dirty="0">
              <a:latin typeface="+mj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38769" y="1497530"/>
            <a:ext cx="8278244" cy="3191082"/>
          </a:xfrm>
        </p:spPr>
        <p:txBody>
          <a:bodyPr/>
          <a:lstStyle/>
          <a:p>
            <a:r>
              <a:rPr lang="en-US" dirty="0" smtClean="0"/>
              <a:t>Let us have a quick poll, do you know the following topics? </a:t>
            </a:r>
          </a:p>
          <a:p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Challenges In Health Car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Health Care Wish List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Hadoop &amp; </a:t>
            </a:r>
            <a:r>
              <a:rPr lang="en-US" dirty="0" err="1" smtClean="0"/>
              <a:t>IoT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Hadoop’s role in HealthCare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DEMO with HealthCare </a:t>
            </a:r>
            <a:r>
              <a:rPr lang="en-US" dirty="0" err="1" smtClean="0"/>
              <a:t>DataSet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6337300" y="13048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340" y="14039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3236" y="22743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9541" y="22743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340" y="31026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292076" y="21586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266045" y="12241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6613" y="22720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Challenges In Healthcare</a:t>
            </a:r>
          </a:p>
        </p:txBody>
      </p:sp>
    </p:spTree>
    <p:extLst>
      <p:ext uri="{BB962C8B-B14F-4D97-AF65-F5344CB8AC3E}">
        <p14:creationId xmlns:p14="http://schemas.microsoft.com/office/powerpoint/2010/main" val="51203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262626"/>
                </a:solidFill>
                <a:latin typeface="+mj-lt"/>
              </a:rPr>
              <a:t>Challenges In Health Car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41403" y="1583704"/>
            <a:ext cx="8776354" cy="20108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b="1" dirty="0" smtClean="0">
                <a:ea typeface="Tahoma" panose="020B0604030504040204" pitchFamily="34" charset="0"/>
                <a:cs typeface="Tahoma" panose="020B0604030504040204" pitchFamily="34" charset="0"/>
              </a:rPr>
              <a:t> Overdependence on manual caretaking</a:t>
            </a:r>
            <a:endParaRPr lang="en-IN" b="1" dirty="0" err="1" smtClean="0">
              <a:ea typeface="Tahoma" panose="020B0604030504040204" pitchFamily="34" charset="0"/>
              <a:cs typeface="HP Simplified" pitchFamily="34" charset="0"/>
            </a:endParaRP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b="1" dirty="0" smtClean="0">
                <a:ea typeface="Tahoma" panose="020B0604030504040204" pitchFamily="34" charset="0"/>
                <a:cs typeface="Tahoma" panose="020B0604030504040204" pitchFamily="34" charset="0"/>
              </a:rPr>
              <a:t> Observation is only available in hospitals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b="1" dirty="0" smtClean="0">
                <a:ea typeface="Tahoma" panose="020B0604030504040204" pitchFamily="34" charset="0"/>
                <a:cs typeface="Tahoma" panose="020B0604030504040204" pitchFamily="34" charset="0"/>
              </a:rPr>
              <a:t> Continuous observation doesn’t happen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b="1" dirty="0" smtClean="0">
                <a:ea typeface="Tahoma" panose="020B0604030504040204" pitchFamily="34" charset="0"/>
                <a:cs typeface="Tahoma" panose="020B0604030504040204" pitchFamily="34" charset="0"/>
              </a:rPr>
              <a:t> No mechanism for proper storage for huge healthcare data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b="1" dirty="0" smtClean="0">
                <a:ea typeface="Tahoma" panose="020B0604030504040204" pitchFamily="34" charset="0"/>
                <a:cs typeface="Tahoma" panose="020B0604030504040204" pitchFamily="34" charset="0"/>
              </a:rPr>
              <a:t> No tracking of usage on how medicines and equipment are being used out of hospital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b="1" dirty="0" smtClean="0">
                <a:ea typeface="Tahoma" panose="020B0604030504040204" pitchFamily="34" charset="0"/>
                <a:cs typeface="Tahoma" panose="020B0604030504040204" pitchFamily="34" charset="0"/>
              </a:rPr>
              <a:t> Manual renewal of prescription</a:t>
            </a:r>
          </a:p>
        </p:txBody>
      </p:sp>
    </p:spTree>
    <p:extLst>
      <p:ext uri="{BB962C8B-B14F-4D97-AF65-F5344CB8AC3E}">
        <p14:creationId xmlns:p14="http://schemas.microsoft.com/office/powerpoint/2010/main" val="381574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Healthcare Wish List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262626"/>
                </a:solidFill>
              </a:rPr>
              <a:t>Wish List</a:t>
            </a:r>
            <a:endParaRPr lang="en-IN" dirty="0" smtClean="0">
              <a:solidFill>
                <a:srgbClr val="26262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5668" y="4397840"/>
            <a:ext cx="2482733" cy="22537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180" y="2941847"/>
            <a:ext cx="1630876" cy="1298030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970" y="807216"/>
            <a:ext cx="1916382" cy="1533212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1959" y="947059"/>
            <a:ext cx="1105066" cy="963388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6205" y="850758"/>
            <a:ext cx="2035558" cy="1489670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675" y="3555469"/>
            <a:ext cx="1236754" cy="1015496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4212" y="2813669"/>
            <a:ext cx="1750328" cy="1467302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cxnSp>
        <p:nvCxnSpPr>
          <p:cNvPr id="17" name="Straight Arrow Connector 3"/>
          <p:cNvCxnSpPr/>
          <p:nvPr/>
        </p:nvCxnSpPr>
        <p:spPr>
          <a:xfrm>
            <a:off x="2873826" y="2046514"/>
            <a:ext cx="3396345" cy="1349829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2808512" y="1883228"/>
            <a:ext cx="3265714" cy="1426029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4335376" y="1922719"/>
            <a:ext cx="31904" cy="1578322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1130105" y="2369422"/>
            <a:ext cx="1728069" cy="2145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necessary doctor visit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234909" y="667059"/>
            <a:ext cx="2164629" cy="1976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ticipation of Patient’s condition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48675" y="2402079"/>
            <a:ext cx="1617598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nowledge </a:t>
            </a:r>
            <a:r>
              <a:rPr lang="en-US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facilities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401679" y="4317112"/>
            <a:ext cx="965080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lling </a:t>
            </a:r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aud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404684" y="4299517"/>
            <a:ext cx="1719232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ticipation of demands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687781" y="4538245"/>
            <a:ext cx="1345101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tomatic </a:t>
            </a:r>
            <a:r>
              <a:rPr lang="en-US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newal</a:t>
            </a:r>
            <a:endParaRPr lang="en-US" sz="1050" b="1" dirty="0">
              <a:solidFill>
                <a:srgbClr val="00B050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364" y="2204357"/>
            <a:ext cx="1134074" cy="974272"/>
          </a:xfrm>
          <a:prstGeom prst="ellipse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26607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Hadoop</a:t>
            </a:r>
            <a:r>
              <a:rPr lang="en-IN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lang="en-IN" sz="4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oT</a:t>
            </a:r>
            <a:endParaRPr lang="en-IN" sz="48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/>
              <a:t>Hadoop</a:t>
            </a:r>
            <a:r>
              <a:rPr lang="en-US" dirty="0" smtClean="0"/>
              <a:t> &amp; </a:t>
            </a:r>
            <a:r>
              <a:rPr lang="en-US" dirty="0" err="1" smtClean="0"/>
              <a:t>IoT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5018111" y="617332"/>
            <a:ext cx="3791495" cy="4149097"/>
            <a:chOff x="2321949" y="755085"/>
            <a:chExt cx="4027173" cy="4417716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98436" y="2001083"/>
              <a:ext cx="1808252" cy="1812647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898" r="20690"/>
            <a:stretch/>
          </p:blipFill>
          <p:spPr>
            <a:xfrm>
              <a:off x="2717421" y="1247593"/>
              <a:ext cx="523983" cy="897062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07814" y="755085"/>
              <a:ext cx="1075362" cy="1075362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225"/>
            <a:stretch/>
          </p:blipFill>
          <p:spPr>
            <a:xfrm>
              <a:off x="4581891" y="1009278"/>
              <a:ext cx="597558" cy="896621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99086" y="2301509"/>
              <a:ext cx="850036" cy="567358"/>
            </a:xfrm>
            <a:prstGeom prst="rect">
              <a:avLst/>
            </a:prstGeom>
            <a:effectLst>
              <a:softEdge rad="63500"/>
            </a:effec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698" r="25033"/>
            <a:stretch/>
          </p:blipFill>
          <p:spPr>
            <a:xfrm>
              <a:off x="2353195" y="2040664"/>
              <a:ext cx="430417" cy="994749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76392" y="4017498"/>
              <a:ext cx="1387574" cy="1155303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80258" y="3913804"/>
              <a:ext cx="784692" cy="567924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1949" y="3103399"/>
              <a:ext cx="829109" cy="831124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13055" y="3117799"/>
              <a:ext cx="965054" cy="644288"/>
            </a:xfrm>
            <a:prstGeom prst="rect">
              <a:avLst/>
            </a:prstGeom>
            <a:effectLst>
              <a:softEdge rad="63500"/>
            </a:effectLst>
          </p:spPr>
        </p:pic>
      </p:grpSp>
      <p:sp>
        <p:nvSpPr>
          <p:cNvPr id="17" name="TextBox 16"/>
          <p:cNvSpPr txBox="1"/>
          <p:nvPr/>
        </p:nvSpPr>
        <p:spPr>
          <a:xfrm>
            <a:off x="197962" y="700561"/>
            <a:ext cx="4514728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IOT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is the network of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physical devices embedded with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 electronics, 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software and sensor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Enable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objects to exchange data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within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the existing Internet 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infrastructure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Results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in improved efficiency, accuracy and economic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benefit</a:t>
            </a:r>
            <a:endParaRPr lang="en-US" sz="16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Each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device in the network is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uniquely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identifiable</a:t>
            </a:r>
            <a:endParaRPr lang="en-US" sz="16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6570" y="1290728"/>
            <a:ext cx="805544" cy="537298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1" y="3668487"/>
            <a:ext cx="7239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593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Hadoop’s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ole in HealthCare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Custom 17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E5E8E8"/>
    </a:accent6>
    <a:hlink>
      <a:srgbClr val="0096D6"/>
    </a:hlink>
    <a:folHlink>
      <a:srgbClr val="0096D6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25</TotalTime>
  <Words>306</Words>
  <Application>Microsoft Office PowerPoint</Application>
  <PresentationFormat>On-screen Show (16:9)</PresentationFormat>
  <Paragraphs>61</Paragraphs>
  <Slides>1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8" baseType="lpstr">
      <vt:lpstr>Courier New</vt:lpstr>
      <vt:lpstr>Futura Bk</vt:lpstr>
      <vt:lpstr>Tahoma</vt:lpstr>
      <vt:lpstr>Lucida Grande</vt:lpstr>
      <vt:lpstr>Calibri</vt:lpstr>
      <vt:lpstr>Wingdings</vt:lpstr>
      <vt:lpstr>HP Simplified</vt:lpstr>
      <vt:lpstr>Arial</vt:lpstr>
      <vt:lpstr>Futura Hv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rdhan</dc:creator>
  <cp:lastModifiedBy>Vardhan</cp:lastModifiedBy>
  <cp:revision>36</cp:revision>
  <cp:lastPrinted>2012-04-13T15:38:33Z</cp:lastPrinted>
  <dcterms:created xsi:type="dcterms:W3CDTF">2012-05-02T14:03:12Z</dcterms:created>
  <dcterms:modified xsi:type="dcterms:W3CDTF">2015-10-20T04:42:49Z</dcterms:modified>
</cp:coreProperties>
</file>